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71" d="100"/>
          <a:sy n="71" d="100"/>
        </p:scale>
        <p:origin x="90" y="49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B515D4-2623-4290-86FD-1AD7CBE250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7954A4-A8A5-4602-A4BB-105E23BF6E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A74726-1034-467D-A0DD-F694F0C572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3FC7B-02F2-4107-A7BA-21550433AC09}" type="datetimeFigureOut">
              <a:rPr lang="en-IN" smtClean="0"/>
              <a:t>28-01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292231-FAB5-4B27-B267-9F13D15F62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34107E-7816-43AA-887B-DD6AB7E380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68FA7-439A-44AA-956F-8BAC57C7429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565856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ECE205-B788-4902-BA56-67A68E9273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3150FF4-2783-4F56-9BA5-C9DE58D803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0805CB-4871-4906-8AAF-1CC486BE1B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3FC7B-02F2-4107-A7BA-21550433AC09}" type="datetimeFigureOut">
              <a:rPr lang="en-IN" smtClean="0"/>
              <a:t>28-01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05526B-D270-4951-8977-25208B5F3B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31CBB8-38EF-4D07-A02D-86EC51B5B7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68FA7-439A-44AA-956F-8BAC57C7429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569020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DDB3726-B9E7-44C3-865B-D1AAE1C4443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CCBA364-530B-440F-BE66-40A6B41658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6654D1-D278-425C-944A-D63F201440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3FC7B-02F2-4107-A7BA-21550433AC09}" type="datetimeFigureOut">
              <a:rPr lang="en-IN" smtClean="0"/>
              <a:t>28-01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1DE992-811D-4455-9DAB-64087C628D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263E2-5B89-4086-AF52-89A4A35E55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68FA7-439A-44AA-956F-8BAC57C7429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64898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5F1769-62BC-47F4-ABE3-79AC794FE1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468883-B105-43E7-892E-0C61E22454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992086-E050-445C-90D1-A123B6CA6F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3FC7B-02F2-4107-A7BA-21550433AC09}" type="datetimeFigureOut">
              <a:rPr lang="en-IN" smtClean="0"/>
              <a:t>28-01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B24C85-1F03-4E36-AC9D-C56C8110DD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7EDB5E-D48C-48EF-A01D-F2A40CA91B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68FA7-439A-44AA-956F-8BAC57C7429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772661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09760C-E9A1-436E-BA94-1B8ED9F6D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EC7B10-9305-4381-9CAC-5DB4319EA2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4C4523-7007-40A4-85AF-020BC137CE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3FC7B-02F2-4107-A7BA-21550433AC09}" type="datetimeFigureOut">
              <a:rPr lang="en-IN" smtClean="0"/>
              <a:t>28-01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AF709D-C712-4E41-B140-C5E8B25B0E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3A0EC4-FB17-41DF-A5AD-60C765918C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68FA7-439A-44AA-956F-8BAC57C7429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75023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915587-CF05-413E-9443-E2650A97ED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22A383-1CC7-4CE3-B254-D683E93CD91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49705C-A5F0-4E49-9F44-8178834984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6CA9E5-179A-433D-9C6F-BDE9AC7527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3FC7B-02F2-4107-A7BA-21550433AC09}" type="datetimeFigureOut">
              <a:rPr lang="en-IN" smtClean="0"/>
              <a:t>28-01-2019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FF2391-D3F3-4C4D-A003-72BF6D73C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F41AAC-5309-4B58-B40C-C74BBDA5E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68FA7-439A-44AA-956F-8BAC57C7429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867305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9F25BD-9224-427F-93F6-A95DA95E3A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BCBAD3-13FC-43BF-8424-FD63FAA5A2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FCFE41-81C9-438C-8432-C596D1CEB93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551650-FB93-4CF4-9015-6CEA8F3E1C7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43A092-F0FF-4DE8-9F47-7FBB6EAC8E0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FB3D23C-86EF-47AA-99D5-32947E40A4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3FC7B-02F2-4107-A7BA-21550433AC09}" type="datetimeFigureOut">
              <a:rPr lang="en-IN" smtClean="0"/>
              <a:t>28-01-2019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A90E901-B1AC-4266-8B4E-5B30A6654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5F06FE-6476-4760-8FAA-A1DC110E40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68FA7-439A-44AA-956F-8BAC57C7429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729776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5C3A68-89C0-4B4D-A8B2-5F6766714E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7E2435-9C89-4EA3-B0D7-480BE99F50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3FC7B-02F2-4107-A7BA-21550433AC09}" type="datetimeFigureOut">
              <a:rPr lang="en-IN" smtClean="0"/>
              <a:t>28-01-2019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1A20BA-3D74-42C1-AA8A-25325FFE53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687C57-DA7C-4516-A7FA-2155EB237C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68FA7-439A-44AA-956F-8BAC57C7429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127882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F271F7E-036F-47CE-A19E-757891AB55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3FC7B-02F2-4107-A7BA-21550433AC09}" type="datetimeFigureOut">
              <a:rPr lang="en-IN" smtClean="0"/>
              <a:t>28-01-2019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3CEA77-BAF6-4BEB-86EC-A1EBC5AA6A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467EC6-69D3-4971-B1EC-008091AA7A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68FA7-439A-44AA-956F-8BAC57C7429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333827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BCDB66-3368-4E5B-A403-D7A08636B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AB8957-E6A3-44DE-B4CA-0374379213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0268DB-1D69-407D-B5DE-56E2C8BFBA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011DBB-D3A2-4888-869F-D672C22614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3FC7B-02F2-4107-A7BA-21550433AC09}" type="datetimeFigureOut">
              <a:rPr lang="en-IN" smtClean="0"/>
              <a:t>28-01-2019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D9EAD2-60F2-4815-A091-EF753F2414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62305F-5196-4C5F-8AA9-81A26C111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68FA7-439A-44AA-956F-8BAC57C7429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522903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C872FF-4925-49A7-8252-F6FA022B2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62BCE9-32BC-462D-AA8B-D1A8825F708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7D6376-6C73-43F2-A24A-92632B1763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9BE748-5E36-403B-927D-0A42398E1B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3FC7B-02F2-4107-A7BA-21550433AC09}" type="datetimeFigureOut">
              <a:rPr lang="en-IN" smtClean="0"/>
              <a:t>28-01-2019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5CC8EA-664C-4841-A9E8-1BBE57DC47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66CBA7-8157-4A40-9450-D6F5873838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68FA7-439A-44AA-956F-8BAC57C7429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294546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7AE31C-D852-441E-ABAF-8CDD84737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BF7AA8-0761-4454-BCD5-1E48970E12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A86496-7000-4F3A-9EA1-BF2C5DD539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D3FC7B-02F2-4107-A7BA-21550433AC09}" type="datetimeFigureOut">
              <a:rPr lang="en-IN" smtClean="0"/>
              <a:t>28-01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3D00BF-F366-4442-86D7-258D246F5D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9538B6-585B-4A65-B695-FBDE719D1A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A68FA7-439A-44AA-956F-8BAC57C7429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19076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7">
            <a:extLst>
              <a:ext uri="{FF2B5EF4-FFF2-40B4-BE49-F238E27FC236}">
                <a16:creationId xmlns:a16="http://schemas.microsoft.com/office/drawing/2014/main" id="{C5470B10-635C-4F3F-BB9C-3D9D21E564AC}"/>
              </a:ext>
            </a:extLst>
          </p:cNvPr>
          <p:cNvSpPr/>
          <p:nvPr/>
        </p:nvSpPr>
        <p:spPr>
          <a:xfrm>
            <a:off x="3411798" y="4330465"/>
            <a:ext cx="8003980" cy="1014014"/>
          </a:xfrm>
          <a:prstGeom prst="roundRect">
            <a:avLst>
              <a:gd name="adj" fmla="val 5000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" name="Rounded Rectangle 9">
            <a:extLst>
              <a:ext uri="{FF2B5EF4-FFF2-40B4-BE49-F238E27FC236}">
                <a16:creationId xmlns:a16="http://schemas.microsoft.com/office/drawing/2014/main" id="{94B0EF53-10C2-411F-A74A-45EC8AACBC89}"/>
              </a:ext>
            </a:extLst>
          </p:cNvPr>
          <p:cNvSpPr/>
          <p:nvPr/>
        </p:nvSpPr>
        <p:spPr>
          <a:xfrm>
            <a:off x="3411798" y="3152028"/>
            <a:ext cx="7157590" cy="1014014"/>
          </a:xfrm>
          <a:prstGeom prst="roundRect">
            <a:avLst>
              <a:gd name="adj" fmla="val 50000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C75E335C-ED77-413E-A084-05C44C6EF28A}"/>
              </a:ext>
            </a:extLst>
          </p:cNvPr>
          <p:cNvSpPr/>
          <p:nvPr/>
        </p:nvSpPr>
        <p:spPr>
          <a:xfrm>
            <a:off x="3411798" y="1977662"/>
            <a:ext cx="6322797" cy="1014014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26246CE9-EE01-42CD-B8EF-5E8D1E81D551}"/>
              </a:ext>
            </a:extLst>
          </p:cNvPr>
          <p:cNvSpPr/>
          <p:nvPr/>
        </p:nvSpPr>
        <p:spPr>
          <a:xfrm flipV="1">
            <a:off x="1996892" y="6102620"/>
            <a:ext cx="898059" cy="304739"/>
          </a:xfrm>
          <a:prstGeom prst="triangle">
            <a:avLst>
              <a:gd name="adj" fmla="val 50322"/>
            </a:avLst>
          </a:prstGeom>
          <a:solidFill>
            <a:schemeClr val="bg1"/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rapezoid 8">
            <a:extLst>
              <a:ext uri="{FF2B5EF4-FFF2-40B4-BE49-F238E27FC236}">
                <a16:creationId xmlns:a16="http://schemas.microsoft.com/office/drawing/2014/main" id="{E832D01E-F653-4146-8A54-71A3764E0874}"/>
              </a:ext>
            </a:extLst>
          </p:cNvPr>
          <p:cNvSpPr/>
          <p:nvPr/>
        </p:nvSpPr>
        <p:spPr>
          <a:xfrm flipV="1">
            <a:off x="933352" y="5422618"/>
            <a:ext cx="3025140" cy="680003"/>
          </a:xfrm>
          <a:prstGeom prst="trapezoid">
            <a:avLst>
              <a:gd name="adj" fmla="val 152230"/>
            </a:avLst>
          </a:prstGeom>
          <a:solidFill>
            <a:schemeClr val="accent6">
              <a:lumMod val="50000"/>
            </a:schemeClr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7E2D49-9867-4261-9C62-D330B530E916}"/>
              </a:ext>
            </a:extLst>
          </p:cNvPr>
          <p:cNvSpPr/>
          <p:nvPr/>
        </p:nvSpPr>
        <p:spPr>
          <a:xfrm>
            <a:off x="933353" y="4248253"/>
            <a:ext cx="3025140" cy="117843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8BDC03-E2F0-4739-B49D-373766D116C4}"/>
              </a:ext>
            </a:extLst>
          </p:cNvPr>
          <p:cNvSpPr/>
          <p:nvPr/>
        </p:nvSpPr>
        <p:spPr>
          <a:xfrm>
            <a:off x="933353" y="3069816"/>
            <a:ext cx="3025140" cy="117843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21C778B-F8F4-4F59-A0DC-2A3DD7608FCF}"/>
              </a:ext>
            </a:extLst>
          </p:cNvPr>
          <p:cNvSpPr/>
          <p:nvPr/>
        </p:nvSpPr>
        <p:spPr>
          <a:xfrm>
            <a:off x="933353" y="1895451"/>
            <a:ext cx="3025140" cy="117843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Round Same Side Corner Rectangle 16">
            <a:extLst>
              <a:ext uri="{FF2B5EF4-FFF2-40B4-BE49-F238E27FC236}">
                <a16:creationId xmlns:a16="http://schemas.microsoft.com/office/drawing/2014/main" id="{3ED51927-D03C-4B87-9692-F8C57EDE6303}"/>
              </a:ext>
            </a:extLst>
          </p:cNvPr>
          <p:cNvSpPr/>
          <p:nvPr/>
        </p:nvSpPr>
        <p:spPr>
          <a:xfrm>
            <a:off x="933353" y="1338147"/>
            <a:ext cx="3025141" cy="556353"/>
          </a:xfrm>
          <a:prstGeom prst="round2Same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F68827-E67A-4EF8-82A4-50FD6F674B0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298962" y="1379760"/>
            <a:ext cx="2293922" cy="47464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Business growth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B503FC3F-A5A4-46DD-8188-65ECD7E83A27}"/>
              </a:ext>
            </a:extLst>
          </p:cNvPr>
          <p:cNvGrpSpPr/>
          <p:nvPr/>
        </p:nvGrpSpPr>
        <p:grpSpPr>
          <a:xfrm>
            <a:off x="1107134" y="4390458"/>
            <a:ext cx="894029" cy="894029"/>
            <a:chOff x="3202949" y="4494520"/>
            <a:chExt cx="753631" cy="753631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DC09DEA9-7ACE-4966-B35D-38AF687BFE93}"/>
                </a:ext>
              </a:extLst>
            </p:cNvPr>
            <p:cNvSpPr/>
            <p:nvPr/>
          </p:nvSpPr>
          <p:spPr>
            <a:xfrm>
              <a:off x="3202949" y="4494520"/>
              <a:ext cx="753631" cy="75363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1030" name="Picture 6" descr="Business Marker icon">
              <a:extLst>
                <a:ext uri="{FF2B5EF4-FFF2-40B4-BE49-F238E27FC236}">
                  <a16:creationId xmlns:a16="http://schemas.microsoft.com/office/drawing/2014/main" id="{B1B3A7F4-40AA-4365-B565-C95022A388C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4014" y="4585585"/>
              <a:ext cx="571500" cy="571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B18D4A8-AA37-4191-B51D-5ED90C87CBC2}"/>
              </a:ext>
            </a:extLst>
          </p:cNvPr>
          <p:cNvGrpSpPr/>
          <p:nvPr/>
        </p:nvGrpSpPr>
        <p:grpSpPr>
          <a:xfrm>
            <a:off x="1107134" y="3212021"/>
            <a:ext cx="894029" cy="894029"/>
            <a:chOff x="3202949" y="3517355"/>
            <a:chExt cx="753631" cy="753631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00C96264-B114-4E0F-8A90-B13C3271BA65}"/>
                </a:ext>
              </a:extLst>
            </p:cNvPr>
            <p:cNvSpPr/>
            <p:nvPr/>
          </p:nvSpPr>
          <p:spPr>
            <a:xfrm>
              <a:off x="3202949" y="3517355"/>
              <a:ext cx="753631" cy="75363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1028" name="Picture 4" descr="Anonymous User icon">
              <a:extLst>
                <a:ext uri="{FF2B5EF4-FFF2-40B4-BE49-F238E27FC236}">
                  <a16:creationId xmlns:a16="http://schemas.microsoft.com/office/drawing/2014/main" id="{0EEEEF32-4D9A-408B-91FA-42B4C485C8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4014" y="3608420"/>
              <a:ext cx="571500" cy="571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25352A3-52FE-4F8D-9F66-E0E092100394}"/>
              </a:ext>
            </a:extLst>
          </p:cNvPr>
          <p:cNvGrpSpPr/>
          <p:nvPr/>
        </p:nvGrpSpPr>
        <p:grpSpPr>
          <a:xfrm>
            <a:off x="1107134" y="2037655"/>
            <a:ext cx="894029" cy="894029"/>
            <a:chOff x="3202949" y="2527413"/>
            <a:chExt cx="753631" cy="753631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3A08A22D-09D3-4630-B3F2-EEF8AFE869F9}"/>
                </a:ext>
              </a:extLst>
            </p:cNvPr>
            <p:cNvSpPr/>
            <p:nvPr/>
          </p:nvSpPr>
          <p:spPr>
            <a:xfrm>
              <a:off x="3202949" y="2527413"/>
              <a:ext cx="753631" cy="75363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1026" name="Picture 2" descr="Total Sales icon">
              <a:extLst>
                <a:ext uri="{FF2B5EF4-FFF2-40B4-BE49-F238E27FC236}">
                  <a16:creationId xmlns:a16="http://schemas.microsoft.com/office/drawing/2014/main" id="{3F94ED6E-4E9D-4831-81A9-DD5D465E90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4014" y="2618478"/>
              <a:ext cx="571500" cy="571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93676F5F-AFC1-4677-9935-961C24EC3D57}"/>
              </a:ext>
            </a:extLst>
          </p:cNvPr>
          <p:cNvSpPr txBox="1"/>
          <p:nvPr/>
        </p:nvSpPr>
        <p:spPr>
          <a:xfrm>
            <a:off x="2412109" y="2101300"/>
            <a:ext cx="1250650" cy="7667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3600" b="1" dirty="0">
                <a:solidFill>
                  <a:schemeClr val="bg1"/>
                </a:solidFill>
              </a:rPr>
              <a:t>85%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D3B77C2-1B31-47FF-97C1-8808C5C12E9E}"/>
              </a:ext>
            </a:extLst>
          </p:cNvPr>
          <p:cNvSpPr txBox="1"/>
          <p:nvPr/>
        </p:nvSpPr>
        <p:spPr>
          <a:xfrm>
            <a:off x="2412109" y="3275666"/>
            <a:ext cx="1250650" cy="7667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3600" b="1" dirty="0">
                <a:solidFill>
                  <a:schemeClr val="bg1"/>
                </a:solidFill>
              </a:rPr>
              <a:t>55%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D145BD7-39A7-4DBB-B13A-24C54EB6756A}"/>
              </a:ext>
            </a:extLst>
          </p:cNvPr>
          <p:cNvSpPr txBox="1"/>
          <p:nvPr/>
        </p:nvSpPr>
        <p:spPr>
          <a:xfrm>
            <a:off x="2412109" y="4454103"/>
            <a:ext cx="1250650" cy="7667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3600" b="1" dirty="0">
                <a:solidFill>
                  <a:schemeClr val="bg1"/>
                </a:solidFill>
              </a:rPr>
              <a:t>75%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EE2A9EE-8AEF-4462-BC0D-64B3E285809F}"/>
              </a:ext>
            </a:extLst>
          </p:cNvPr>
          <p:cNvSpPr txBox="1"/>
          <p:nvPr/>
        </p:nvSpPr>
        <p:spPr>
          <a:xfrm>
            <a:off x="3972394" y="2207670"/>
            <a:ext cx="567685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dirty="0"/>
              <a:t>This slide is an editable slide with all your needs.</a:t>
            </a:r>
            <a:r>
              <a:rPr lang="en-IN" dirty="0"/>
              <a:t> </a:t>
            </a:r>
            <a:r>
              <a:rPr lang="en-US" dirty="0"/>
              <a:t>Adapt it with your needs and it will capture all the audience attention</a:t>
            </a:r>
            <a:endParaRPr lang="en-IN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DB59286-145F-49AC-AD15-DD7F003FA1C4}"/>
              </a:ext>
            </a:extLst>
          </p:cNvPr>
          <p:cNvSpPr txBox="1"/>
          <p:nvPr/>
        </p:nvSpPr>
        <p:spPr>
          <a:xfrm>
            <a:off x="3972394" y="3366944"/>
            <a:ext cx="599163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dirty="0"/>
              <a:t>This slide is an editable slide with all your needs.</a:t>
            </a:r>
            <a:r>
              <a:rPr lang="en-IN" dirty="0"/>
              <a:t> </a:t>
            </a:r>
            <a:r>
              <a:rPr lang="en-US" dirty="0"/>
              <a:t>Adapt it with your needs and it will capture all the audience attention</a:t>
            </a:r>
            <a:endParaRPr lang="en-IN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F22DCE0-CC38-419C-BF5F-E9BE6F7943EC}"/>
              </a:ext>
            </a:extLst>
          </p:cNvPr>
          <p:cNvSpPr txBox="1"/>
          <p:nvPr/>
        </p:nvSpPr>
        <p:spPr>
          <a:xfrm>
            <a:off x="3972394" y="4545381"/>
            <a:ext cx="632583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dirty="0"/>
              <a:t>This slide is an editable slide with all your needs.</a:t>
            </a:r>
            <a:r>
              <a:rPr lang="en-IN" dirty="0"/>
              <a:t> </a:t>
            </a:r>
            <a:r>
              <a:rPr lang="en-US" dirty="0"/>
              <a:t>Adapt it with your needs and it will capture all the audience attention</a:t>
            </a:r>
            <a:endParaRPr lang="en-IN" dirty="0"/>
          </a:p>
        </p:txBody>
      </p:sp>
      <p:sp>
        <p:nvSpPr>
          <p:cNvPr id="49" name="Trapezoid 48">
            <a:extLst>
              <a:ext uri="{FF2B5EF4-FFF2-40B4-BE49-F238E27FC236}">
                <a16:creationId xmlns:a16="http://schemas.microsoft.com/office/drawing/2014/main" id="{FBBB64D0-B55B-40B3-9B73-CA69E62B741D}"/>
              </a:ext>
            </a:extLst>
          </p:cNvPr>
          <p:cNvSpPr/>
          <p:nvPr/>
        </p:nvSpPr>
        <p:spPr>
          <a:xfrm flipV="1">
            <a:off x="1319649" y="5610249"/>
            <a:ext cx="2254659" cy="304740"/>
          </a:xfrm>
          <a:prstGeom prst="trapezoid">
            <a:avLst>
              <a:gd name="adj" fmla="val 15223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662261F-37F3-4BEB-B6B3-37894EA8B7B5}"/>
              </a:ext>
            </a:extLst>
          </p:cNvPr>
          <p:cNvSpPr txBox="1"/>
          <p:nvPr/>
        </p:nvSpPr>
        <p:spPr>
          <a:xfrm>
            <a:off x="0" y="220517"/>
            <a:ext cx="12192000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/>
              <a:t>The secret of successful startup business plan</a:t>
            </a:r>
            <a:endParaRPr lang="en-IN" sz="4800" b="1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D2AE0DB-FCF4-4ABA-A4BB-F42BDF84268D}"/>
              </a:ext>
            </a:extLst>
          </p:cNvPr>
          <p:cNvSpPr/>
          <p:nvPr/>
        </p:nvSpPr>
        <p:spPr>
          <a:xfrm>
            <a:off x="0" y="0"/>
            <a:ext cx="12192000" cy="1294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AE56B58-6EAE-41EE-84D7-8AB3FAFD5C0C}"/>
              </a:ext>
            </a:extLst>
          </p:cNvPr>
          <p:cNvSpPr/>
          <p:nvPr/>
        </p:nvSpPr>
        <p:spPr>
          <a:xfrm>
            <a:off x="0" y="6730268"/>
            <a:ext cx="12192000" cy="1294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41552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</TotalTime>
  <Words>87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min</dc:creator>
  <cp:lastModifiedBy>admin</cp:lastModifiedBy>
  <cp:revision>3</cp:revision>
  <dcterms:created xsi:type="dcterms:W3CDTF">2019-01-28T05:42:43Z</dcterms:created>
  <dcterms:modified xsi:type="dcterms:W3CDTF">2019-01-28T05:51:33Z</dcterms:modified>
</cp:coreProperties>
</file>